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3.xml" ContentType="application/vnd.openxmlformats-officedocument.drawingml.chartshape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7"/>
  </p:notesMasterIdLst>
  <p:sldIdLst>
    <p:sldId id="261" r:id="rId2"/>
    <p:sldId id="495" r:id="rId3"/>
    <p:sldId id="496" r:id="rId4"/>
    <p:sldId id="1151" r:id="rId5"/>
    <p:sldId id="258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6E6E6"/>
    <a:srgbClr val="A4422E"/>
    <a:srgbClr val="007A40"/>
    <a:srgbClr val="59ADC4"/>
    <a:srgbClr val="2E676B"/>
    <a:srgbClr val="007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3BDD3B-DAC2-459E-9B9A-AF5F93FD43CC}" v="5" dt="2023-10-31T23:40:07.3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27"/>
  </p:normalViewPr>
  <p:slideViewPr>
    <p:cSldViewPr snapToGrid="0">
      <p:cViewPr varScale="1">
        <p:scale>
          <a:sx n="67" d="100"/>
          <a:sy n="67" d="100"/>
        </p:scale>
        <p:origin x="60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abiano.silvestrin\AppData\Local\Microsoft\Windows\INetCache\Content.Outlook\HV4L5ME9\Gr&#225;ficos%20algodao%202023%20-%20boro%201.xls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abiano.silvestrin\AppData\Local\Microsoft\Windows\INetCache\Content.Outlook\HV4L5ME9\Gr&#225;ficos%20algodao%202023%20-%20boro%201.xls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abiano.silvestrin\AppData\Local\Microsoft\Windows\INetCache\Content.Outlook\HV4L5ME9\Gr&#225;ficos%20algodao%202023%20-%20boro%201.xls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olo B (m</a:t>
            </a:r>
            <a:r>
              <a:rPr lang="en-US" sz="1400" b="1" i="0" u="none" strike="noStrike" kern="1200" cap="none" spc="0" normalizeH="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/dm³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25</c:v>
                </c:pt>
                <c:pt idx="1">
                  <c:v>0.26</c:v>
                </c:pt>
                <c:pt idx="2">
                  <c:v>0.28999999999999998</c:v>
                </c:pt>
                <c:pt idx="3">
                  <c:v>0.33</c:v>
                </c:pt>
                <c:pt idx="4">
                  <c:v>0.42</c:v>
                </c:pt>
                <c:pt idx="5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F7-458D-A6D3-D3556E0EEA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idulated ulexit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25</c:v>
                </c:pt>
                <c:pt idx="1">
                  <c:v>0.25</c:v>
                </c:pt>
                <c:pt idx="2">
                  <c:v>0.24</c:v>
                </c:pt>
                <c:pt idx="3">
                  <c:v>0.32</c:v>
                </c:pt>
                <c:pt idx="4">
                  <c:v>0.41</c:v>
                </c:pt>
                <c:pt idx="5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F7-458D-A6D3-D3556E0EEA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43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0.49000000000000005"/>
          <c:min val="0.2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400" dirty="0" err="1"/>
              <a:t>Rendimento</a:t>
            </a:r>
            <a:r>
              <a:rPr lang="en-US" sz="1400" dirty="0"/>
              <a:t> do </a:t>
            </a:r>
            <a:r>
              <a:rPr lang="en-US" sz="1400" dirty="0" err="1"/>
              <a:t>algodão</a:t>
            </a:r>
            <a:r>
              <a:rPr lang="en-US" sz="1400" dirty="0"/>
              <a:t> (kg/ha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066.7</c:v>
                </c:pt>
                <c:pt idx="1">
                  <c:v>5091.6000000000004</c:v>
                </c:pt>
                <c:pt idx="2">
                  <c:v>5217.2</c:v>
                </c:pt>
                <c:pt idx="3">
                  <c:v>5355</c:v>
                </c:pt>
                <c:pt idx="4">
                  <c:v>5304.5</c:v>
                </c:pt>
                <c:pt idx="5">
                  <c:v>527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8B-49C7-8D39-4B22A536A9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idulated ulexite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5066.7</c:v>
                </c:pt>
                <c:pt idx="1">
                  <c:v>5089.3</c:v>
                </c:pt>
                <c:pt idx="2">
                  <c:v>5198.6000000000004</c:v>
                </c:pt>
                <c:pt idx="3">
                  <c:v>5314.3</c:v>
                </c:pt>
                <c:pt idx="4">
                  <c:v>5209</c:v>
                </c:pt>
                <c:pt idx="5">
                  <c:v>518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8B-49C7-8D39-4B22A536A9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43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542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lgodão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B foliar (m</a:t>
            </a:r>
            <a:r>
              <a:rPr lang="en-US" sz="1400" b="1" i="0" u="none" strike="noStrike" kern="1200" cap="none" spc="0" normalizeH="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/kg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pt-B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nubor</c:v>
                </c:pt>
              </c:strCache>
            </c:strRef>
          </c:tx>
          <c:spPr>
            <a:solidFill>
              <a:srgbClr val="007A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2.700000000000003</c:v>
                </c:pt>
                <c:pt idx="1">
                  <c:v>33.700000000000003</c:v>
                </c:pt>
                <c:pt idx="2">
                  <c:v>35.700000000000003</c:v>
                </c:pt>
                <c:pt idx="3">
                  <c:v>36.1</c:v>
                </c:pt>
                <c:pt idx="4">
                  <c:v>37.5</c:v>
                </c:pt>
                <c:pt idx="5">
                  <c:v>4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30-436F-A2BF-AA2DA107C7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cidulated ulexit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0 Kg/ha of B</c:v>
                </c:pt>
                <c:pt idx="1">
                  <c:v>1 Kg/ha of B</c:v>
                </c:pt>
                <c:pt idx="2">
                  <c:v>2 Kg/ha of B</c:v>
                </c:pt>
                <c:pt idx="3">
                  <c:v>3 Kg/ha of B</c:v>
                </c:pt>
                <c:pt idx="4">
                  <c:v>4 Kg/ha of B</c:v>
                </c:pt>
                <c:pt idx="5">
                  <c:v>5 Kg/ha of B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2.700000000000003</c:v>
                </c:pt>
                <c:pt idx="1">
                  <c:v>32.200000000000003</c:v>
                </c:pt>
                <c:pt idx="2">
                  <c:v>32.9</c:v>
                </c:pt>
                <c:pt idx="3">
                  <c:v>34.299999999999997</c:v>
                </c:pt>
                <c:pt idx="4">
                  <c:v>37</c:v>
                </c:pt>
                <c:pt idx="5">
                  <c:v>4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30-436F-A2BF-AA2DA107C7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43"/>
        <c:axId val="1055227504"/>
        <c:axId val="860581376"/>
      </c:barChart>
      <c:catAx>
        <c:axId val="10552275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60581376"/>
        <c:crosses val="autoZero"/>
        <c:auto val="1"/>
        <c:lblAlgn val="ctr"/>
        <c:lblOffset val="100"/>
        <c:noMultiLvlLbl val="0"/>
      </c:catAx>
      <c:valAx>
        <c:axId val="860581376"/>
        <c:scaling>
          <c:orientation val="minMax"/>
          <c:max val="46"/>
          <c:min val="3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55227504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818775879294778"/>
          <c:y val="4.7631331226297834E-2"/>
          <c:w val="0.78417358326936892"/>
          <c:h val="0.71378410854671481"/>
        </c:manualLayout>
      </c:layout>
      <c:scatterChart>
        <c:scatterStyle val="lineMarker"/>
        <c:varyColors val="0"/>
        <c:ser>
          <c:idx val="0"/>
          <c:order val="0"/>
          <c:tx>
            <c:strRef>
              <c:f>RAC!$B$4</c:f>
              <c:strCache>
                <c:ptCount val="1"/>
              </c:strCache>
            </c:strRef>
          </c:tx>
          <c:spPr>
            <a:ln w="25400" cap="flat" cmpd="sng" algn="ctr">
              <a:noFill/>
              <a:prstDash val="sysDot"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marker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0"/>
          </c:trendline>
          <c:trendline>
            <c:spPr>
              <a:ln w="9525" cap="rnd">
                <a:solidFill>
                  <a:srgbClr val="FF0000"/>
                </a:solidFill>
              </a:ln>
              <a:effectLst/>
            </c:spPr>
            <c:trendlineType val="poly"/>
            <c:order val="2"/>
            <c:dispRSqr val="1"/>
            <c:dispEq val="1"/>
            <c:trendlineLbl>
              <c:layout>
                <c:manualLayout>
                  <c:x val="-7.262967643311026E-2"/>
                  <c:y val="0.3785578335316017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y = 5.033,1 + 133,66x - 18,50x</a:t>
                    </a:r>
                    <a:r>
                      <a:rPr lang="en-US" baseline="30000" dirty="0"/>
                      <a:t>2</a:t>
                    </a:r>
                    <a:r>
                      <a:rPr lang="en-US" dirty="0"/>
                      <a:t> *
R² = 0,82</a:t>
                    </a:r>
                  </a:p>
                </c:rich>
              </c:tx>
              <c:numFmt formatCode="General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xVal>
            <c:numRef>
              <c:f>RAC!$C$3:$H$3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RAC!$C$4:$H$4</c:f>
              <c:numCache>
                <c:formatCode>General</c:formatCode>
                <c:ptCount val="6"/>
                <c:pt idx="0">
                  <c:v>5066.7</c:v>
                </c:pt>
                <c:pt idx="1">
                  <c:v>5090.3999999999996</c:v>
                </c:pt>
                <c:pt idx="2">
                  <c:v>5207.8999999999996</c:v>
                </c:pt>
                <c:pt idx="3">
                  <c:v>5334.6</c:v>
                </c:pt>
                <c:pt idx="4">
                  <c:v>5256.8</c:v>
                </c:pt>
                <c:pt idx="5">
                  <c:v>5229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1930-421B-A12B-D5721ED650BE}"/>
            </c:ext>
          </c:extLst>
        </c:ser>
        <c:ser>
          <c:idx val="1"/>
          <c:order val="1"/>
          <c:tx>
            <c:strRef>
              <c:f>RAC!$B$5</c:f>
              <c:strCache>
                <c:ptCount val="1"/>
              </c:strCache>
            </c:strRef>
          </c:tx>
          <c:spPr>
            <a:ln w="25400" cap="flat" cmpd="sng" algn="ctr">
              <a:noFill/>
              <a:prstDash val="sysDot"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</c:marker>
          <c:xVal>
            <c:numRef>
              <c:f>RAC!$C$3:$H$3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RAC!$C$5:$H$5</c:f>
              <c:numCache>
                <c:formatCode>General</c:formatCode>
                <c:ptCount val="6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1930-421B-A12B-D5721ED65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02273968"/>
        <c:axId val="1"/>
      </c:scatterChart>
      <c:valAx>
        <c:axId val="1402273968"/>
        <c:scaling>
          <c:orientation val="minMax"/>
          <c:max val="5.0999999999999996"/>
          <c:min val="0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autoZero"/>
        <c:crossBetween val="midCat"/>
        <c:majorUnit val="1"/>
      </c:valAx>
      <c:valAx>
        <c:axId val="1"/>
        <c:scaling>
          <c:orientation val="minMax"/>
          <c:max val="5400"/>
          <c:min val="490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402273968"/>
        <c:crosses val="autoZero"/>
        <c:crossBetween val="midCat"/>
        <c:majorUnit val="100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>
                <a:alpha val="0"/>
              </a:schemeClr>
            </a:gs>
          </a:gsLst>
          <a:lin ang="5400000" scaled="0"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>
      <a:solidFill>
        <a:schemeClr val="tx1"/>
      </a:solidFill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837768074107267"/>
          <c:y val="3.2510899117900317E-2"/>
          <c:w val="0.82303303009268569"/>
          <c:h val="0.71707149614369103"/>
        </c:manualLayout>
      </c:layout>
      <c:scatterChart>
        <c:scatterStyle val="lineMarker"/>
        <c:varyColors val="0"/>
        <c:ser>
          <c:idx val="0"/>
          <c:order val="0"/>
          <c:tx>
            <c:strRef>
              <c:f>'B folha'!$B$4</c:f>
              <c:strCache>
                <c:ptCount val="1"/>
              </c:strCache>
            </c:strRef>
          </c:tx>
          <c:spPr>
            <a:ln w="25400" cap="flat" cmpd="sng" algn="ctr">
              <a:noFill/>
              <a:prstDash val="sysDot"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marker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0"/>
          </c:trendline>
          <c:trendline>
            <c:spPr>
              <a:ln w="9525" cap="rnd">
                <a:solidFill>
                  <a:srgbClr val="00B050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12299425931606557"/>
                  <c:y val="0.37119628189934595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y = 31,056 + 1,999x **
R² = 0,79</a:t>
                    </a:r>
                  </a:p>
                </c:rich>
              </c:tx>
              <c:numFmt formatCode="General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xVal>
            <c:numRef>
              <c:f>'B folha'!$C$3:$H$3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'B folha'!$C$4:$H$4</c:f>
              <c:numCache>
                <c:formatCode>General</c:formatCode>
                <c:ptCount val="6"/>
                <c:pt idx="0">
                  <c:v>32.72</c:v>
                </c:pt>
                <c:pt idx="1">
                  <c:v>32.96</c:v>
                </c:pt>
                <c:pt idx="2">
                  <c:v>34.26</c:v>
                </c:pt>
                <c:pt idx="3">
                  <c:v>35.200000000000003</c:v>
                </c:pt>
                <c:pt idx="4">
                  <c:v>37.21</c:v>
                </c:pt>
                <c:pt idx="5">
                  <c:v>43.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68BC-43E5-825E-FCF579E660F3}"/>
            </c:ext>
          </c:extLst>
        </c:ser>
        <c:ser>
          <c:idx val="1"/>
          <c:order val="1"/>
          <c:tx>
            <c:strRef>
              <c:f>'B folha'!$B$5</c:f>
              <c:strCache>
                <c:ptCount val="1"/>
              </c:strCache>
            </c:strRef>
          </c:tx>
          <c:spPr>
            <a:ln w="25400" cap="flat" cmpd="sng" algn="ctr">
              <a:noFill/>
              <a:prstDash val="sysDot"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2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shade val="95000"/>
                  </a:schemeClr>
                </a:solidFill>
                <a:round/>
              </a:ln>
              <a:effectLst/>
            </c:spPr>
          </c:marker>
          <c:xVal>
            <c:numRef>
              <c:f>'B folha'!$C$3:$H$3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'B folha'!$C$5:$H$5</c:f>
              <c:numCache>
                <c:formatCode>General</c:formatCode>
                <c:ptCount val="6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68BC-43E5-825E-FCF579E660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43523888"/>
        <c:axId val="1"/>
      </c:scatterChart>
      <c:valAx>
        <c:axId val="1143523888"/>
        <c:scaling>
          <c:orientation val="minMax"/>
          <c:max val="5.0999999999999996"/>
          <c:min val="0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autoZero"/>
        <c:crossBetween val="midCat"/>
        <c:majorUnit val="1"/>
      </c:valAx>
      <c:valAx>
        <c:axId val="1"/>
        <c:scaling>
          <c:orientation val="minMax"/>
          <c:max val="50"/>
          <c:min val="20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43523888"/>
        <c:crosses val="autoZero"/>
        <c:crossBetween val="midCat"/>
        <c:majorUnit val="10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>
                <a:alpha val="0"/>
              </a:schemeClr>
            </a:gs>
          </a:gsLst>
          <a:lin ang="5400000" scaled="0"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>
      <a:solidFill>
        <a:schemeClr val="tx1"/>
      </a:solidFill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title>
    <c:autoTitleDeleted val="0"/>
    <c:plotArea>
      <c:layout>
        <c:manualLayout>
          <c:layoutTarget val="inner"/>
          <c:xMode val="edge"/>
          <c:yMode val="edge"/>
          <c:x val="0.13908595800524934"/>
          <c:y val="3.2511043811831217E-2"/>
          <c:w val="0.82303303009268569"/>
          <c:h val="0.73066751454434953"/>
        </c:manualLayout>
      </c:layout>
      <c:scatterChart>
        <c:scatterStyle val="lineMarker"/>
        <c:varyColors val="0"/>
        <c:ser>
          <c:idx val="0"/>
          <c:order val="0"/>
          <c:tx>
            <c:strRef>
              <c:f>'B solo'!$B$4</c:f>
              <c:strCache>
                <c:ptCount val="1"/>
              </c:strCache>
            </c:strRef>
          </c:tx>
          <c:spPr>
            <a:ln w="25400" cap="flat" cmpd="sng" algn="ctr">
              <a:noFill/>
              <a:prstDash val="sysDot"/>
              <a:round/>
            </a:ln>
            <a:effectLst/>
          </c:spPr>
          <c:marker>
            <c:symbol val="circle"/>
            <c:size val="5"/>
            <c:spPr>
              <a:gradFill rotWithShape="1">
                <a:gsLst>
                  <a:gs pos="0">
                    <a:schemeClr val="accent1"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marker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1"/>
            <c:trendlineLbl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trendline>
            <c:spPr>
              <a:ln w="9525" cap="rnd">
                <a:solidFill>
                  <a:schemeClr val="accent1"/>
                </a:solidFill>
              </a:ln>
              <a:effectLst/>
            </c:spPr>
            <c:trendlineType val="log"/>
            <c:dispRSqr val="0"/>
            <c:dispEq val="0"/>
          </c:trendline>
          <c:trendline>
            <c:spPr>
              <a:ln w="9525" cap="rnd">
                <a:solidFill>
                  <a:srgbClr val="00B0F0"/>
                </a:solidFill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0.1464474352344626"/>
                  <c:y val="0.50967095957952424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97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y = 0,218 + 0,044x **
R² = 0,89</a:t>
                    </a:r>
                  </a:p>
                </c:rich>
              </c:tx>
              <c:numFmt formatCode="General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</c:trendlineLbl>
          </c:trendline>
          <c:xVal>
            <c:numRef>
              <c:f>'B solo'!$C$3:$H$3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</c:numCache>
            </c:numRef>
          </c:xVal>
          <c:yVal>
            <c:numRef>
              <c:f>'B solo'!$C$4:$H$4</c:f>
              <c:numCache>
                <c:formatCode>General</c:formatCode>
                <c:ptCount val="6"/>
                <c:pt idx="0">
                  <c:v>0.252</c:v>
                </c:pt>
                <c:pt idx="1">
                  <c:v>0.255</c:v>
                </c:pt>
                <c:pt idx="2">
                  <c:v>0.26800000000000002</c:v>
                </c:pt>
                <c:pt idx="3">
                  <c:v>0.32300000000000001</c:v>
                </c:pt>
                <c:pt idx="4">
                  <c:v>0.41599999999999998</c:v>
                </c:pt>
                <c:pt idx="5">
                  <c:v>0.4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1AB-44BB-9366-2DBCDAC793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02276848"/>
        <c:axId val="1"/>
      </c:scatterChart>
      <c:valAx>
        <c:axId val="1402276848"/>
        <c:scaling>
          <c:orientation val="minMax"/>
          <c:max val="5.0999999999999996"/>
          <c:min val="0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"/>
        <c:crosses val="autoZero"/>
        <c:crossBetween val="midCat"/>
        <c:majorUnit val="1"/>
      </c:valAx>
      <c:valAx>
        <c:axId val="1"/>
        <c:scaling>
          <c:orientation val="minMax"/>
          <c:max val="0.5"/>
          <c:min val="0.1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 w="9525" cap="rnd">
            <a:solidFill>
              <a:schemeClr val="dk1">
                <a:lumMod val="25000"/>
                <a:lumOff val="7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spc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402276848"/>
        <c:crosses val="autoZero"/>
        <c:crossBetween val="midCat"/>
        <c:majorUnit val="0.1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>
                <a:alpha val="0"/>
              </a:schemeClr>
            </a:gs>
          </a:gsLst>
          <a:lin ang="5400000" scaled="0"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>
      <a:solidFill>
        <a:schemeClr val="tx1"/>
      </a:solidFill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/>
    <cs:effectRef idx="1"/>
    <cs:fontRef idx="minor">
      <a:schemeClr val="dk1"/>
    </cs:fontRef>
    <cs:spPr>
      <a:ln w="9525" cap="flat" cmpd="sng" algn="ctr">
        <a:solidFill>
          <a:schemeClr val="phClr">
            <a:alpha val="70000"/>
          </a:schemeClr>
        </a:solidFill>
        <a:prstDash val="sysDot"/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rnd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0" baseline="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>
              <a:alpha val="0"/>
            </a:schemeClr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5000"/>
            <a:lumOff val="75000"/>
          </a:schemeClr>
        </a:solidFill>
        <a:round/>
      </a:ln>
    </cs:spPr>
    <cs:defRPr sz="1197" kern="1200" spc="0" baseline="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4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/>
    <cs:effectRef idx="1"/>
    <cs:fontRef idx="minor">
      <a:schemeClr val="dk1"/>
    </cs:fontRef>
    <cs:spPr>
      <a:ln w="9525" cap="flat" cmpd="sng" algn="ctr">
        <a:solidFill>
          <a:schemeClr val="phClr">
            <a:alpha val="70000"/>
          </a:schemeClr>
        </a:solidFill>
        <a:prstDash val="sysDot"/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rnd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0" baseline="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>
              <a:alpha val="0"/>
            </a:schemeClr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5000"/>
            <a:lumOff val="75000"/>
          </a:schemeClr>
        </a:solidFill>
        <a:round/>
      </a:ln>
    </cs:spPr>
    <cs:defRPr sz="1197" kern="1200" spc="0" baseline="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4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/>
    <cs:effectRef idx="1"/>
    <cs:fontRef idx="minor">
      <a:schemeClr val="dk1"/>
    </cs:fontRef>
    <cs:spPr>
      <a:ln w="9525" cap="flat" cmpd="sng" algn="ctr">
        <a:solidFill>
          <a:schemeClr val="phClr">
            <a:alpha val="70000"/>
          </a:schemeClr>
        </a:solidFill>
        <a:prstDash val="sysDot"/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rnd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0" baseline="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>
              <a:alpha val="0"/>
            </a:schemeClr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0000"/>
            <a:lumOff val="80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 cap="rnd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rnd">
        <a:solidFill>
          <a:schemeClr val="dk1">
            <a:lumMod val="25000"/>
            <a:lumOff val="75000"/>
          </a:schemeClr>
        </a:solidFill>
        <a:round/>
      </a:ln>
    </cs:spPr>
    <cs:defRPr sz="1197" kern="1200" spc="0" baseline="0"/>
  </cs:valueAxis>
  <cs:wall>
    <cs:lnRef idx="0"/>
    <cs:fillRef idx="0"/>
    <cs:effectRef idx="0"/>
    <cs:fontRef idx="minor">
      <a:schemeClr val="dk1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665</cdr:x>
      <cdr:y>0.88755</cdr:y>
    </cdr:from>
    <cdr:to>
      <cdr:x>0.89057</cdr:x>
      <cdr:y>0.99009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669319" y="2512068"/>
          <a:ext cx="2704966" cy="290223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lvl="0" algn="ctr">
            <a:defRPr/>
          </a:pPr>
          <a:r>
            <a:rPr lang="pt-BR" dirty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cs typeface="Arial" panose="020B0604020202020204" pitchFamily="34" charset="0"/>
            </a:rPr>
            <a:t>Boron (kg/ha)</a:t>
          </a:r>
          <a:endParaRPr lang="pt-BR" i="1" dirty="0">
            <a:effectLst>
              <a:glow rad="127000">
                <a:schemeClr val="bg1"/>
              </a:glow>
            </a:effectLst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0426</cdr:x>
      <cdr:y>0.87825</cdr:y>
    </cdr:from>
    <cdr:to>
      <cdr:x>0.84145</cdr:x>
      <cdr:y>0.97281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722488" y="2461122"/>
          <a:ext cx="2253755" cy="264969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lvl="0" algn="ctr">
            <a:defRPr/>
          </a:pPr>
          <a:r>
            <a:rPr lang="pt-BR" dirty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cs typeface="Arial" panose="020B0604020202020204" pitchFamily="34" charset="0"/>
            </a:rPr>
            <a:t>Boron (kg/ha)</a:t>
          </a:r>
          <a:endParaRPr lang="pt-BR" i="1" dirty="0">
            <a:effectLst>
              <a:glow rad="127000">
                <a:schemeClr val="bg1"/>
              </a:glow>
            </a:effectLst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6299</cdr:x>
      <cdr:y>0.87809</cdr:y>
    </cdr:from>
    <cdr:to>
      <cdr:x>0.85627</cdr:x>
      <cdr:y>0.97281</cdr:y>
    </cdr:to>
    <cdr:sp macro="" textlink="">
      <cdr:nvSpPr>
        <cdr:cNvPr id="2" name="CaixaDeTexto 2"/>
        <cdr:cNvSpPr txBox="1"/>
      </cdr:nvSpPr>
      <cdr:spPr>
        <a:xfrm xmlns:a="http://schemas.openxmlformats.org/drawingml/2006/main">
          <a:off x="996437" y="2460658"/>
          <a:ext cx="2247873" cy="265433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pt-BR" dirty="0">
              <a:effectLst>
                <a:glow rad="127000">
                  <a:schemeClr val="bg1"/>
                </a:glow>
              </a:effectLst>
              <a:latin typeface="Arial" panose="020B0604020202020204" pitchFamily="34" charset="0"/>
              <a:cs typeface="Arial" panose="020B0604020202020204" pitchFamily="34" charset="0"/>
            </a:rPr>
            <a:t>Boron (kg/ha)</a:t>
          </a:r>
          <a:endParaRPr lang="pt-BR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C7921-AAA0-4247-941A-E1E36747B2D9}" type="datetimeFigureOut">
              <a:rPr lang="en-US" smtClean="0"/>
              <a:t>11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831D69-A6F6-4E37-84E7-A7DDFB816D0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7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FA74C9-25DB-0440-8602-03A0C00D24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928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09167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2E993C7-6258-F989-AB57-19FF85954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69" y="0"/>
            <a:ext cx="6096000" cy="6858000"/>
          </a:xfrm>
          <a:prstGeom prst="rect">
            <a:avLst/>
          </a:prstGeom>
        </p:spPr>
      </p:pic>
      <p:sp>
        <p:nvSpPr>
          <p:cNvPr id="4" name="Title Placeholder 9">
            <a:extLst>
              <a:ext uri="{FF2B5EF4-FFF2-40B4-BE49-F238E27FC236}">
                <a16:creationId xmlns:a16="http://schemas.microsoft.com/office/drawing/2014/main" id="{6A4A512A-0F6C-002E-9A36-7F646D26C2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75365DA-503E-1E96-BC9B-B024A1382D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5227B214-1B25-8369-DB91-831941AFEE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271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24A8C7-D029-401D-A8B1-18FF118BE1BB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8316310" y="6625282"/>
            <a:ext cx="1621440" cy="140400"/>
          </a:xfrm>
          <a:prstGeom prst="rect">
            <a:avLst/>
          </a:prstGeom>
        </p:spPr>
        <p:txBody>
          <a:bodyPr/>
          <a:lstStyle/>
          <a:p>
            <a:fld id="{7D978D20-D3D9-46CE-9A79-0EA980CA8FF7}" type="datetime9">
              <a:rPr lang="en-GB" smtClean="0"/>
              <a:t>29/11/2023 14:49: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4348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: 3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3">
            <a:extLst>
              <a:ext uri="{FF2B5EF4-FFF2-40B4-BE49-F238E27FC236}">
                <a16:creationId xmlns:a16="http://schemas.microsoft.com/office/drawing/2014/main" id="{2060090B-277A-4E00-B2B4-796AE88AAC3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06801" y="1412719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Placeholder 9">
            <a:extLst>
              <a:ext uri="{FF2B5EF4-FFF2-40B4-BE49-F238E27FC236}">
                <a16:creationId xmlns:a16="http://schemas.microsoft.com/office/drawing/2014/main" id="{E8785256-FD66-DBA1-0984-5E3E79746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800" y="548600"/>
            <a:ext cx="11376025" cy="5539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short slide title</a:t>
            </a:r>
            <a:endParaRPr lang="en-AU"/>
          </a:p>
        </p:txBody>
      </p:sp>
      <p:sp>
        <p:nvSpPr>
          <p:cNvPr id="3" name="Content Placeholder 13">
            <a:extLst>
              <a:ext uri="{FF2B5EF4-FFF2-40B4-BE49-F238E27FC236}">
                <a16:creationId xmlns:a16="http://schemas.microsoft.com/office/drawing/2014/main" id="{D8B59C01-D5B8-A22C-721A-63C626EAE0A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94325" y="1412720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13">
            <a:extLst>
              <a:ext uri="{FF2B5EF4-FFF2-40B4-BE49-F238E27FC236}">
                <a16:creationId xmlns:a16="http://schemas.microsoft.com/office/drawing/2014/main" id="{D0192D8B-4D15-6904-F53D-3FA4D700051D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187788" y="1412719"/>
            <a:ext cx="3597413" cy="4680105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600" b="0" i="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54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021A7D-DCA6-89FB-A7B9-A97AF2A53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1431E3-A9C3-F5ED-F3B2-F47158FC284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5659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3DB10E-CD0F-070D-A60F-40F5CAD23D2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0268" y="6060216"/>
            <a:ext cx="2454984" cy="4876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021A7D-DCA6-89FB-A7B9-A97AF2A53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337FA79C-7140-24F9-770A-66324216EF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869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6E1D37-D086-840D-E116-8473251052D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0085" y="6060094"/>
            <a:ext cx="2438180" cy="48763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A4D6796-9339-AE63-BDFC-284F8A7940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A912341-FE62-0DC8-CAB6-EC038BAC7A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71476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F6738C-A831-0A74-2080-97F2A16E04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963" y="6079972"/>
            <a:ext cx="2239398" cy="44788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6400800" y="4132425"/>
            <a:ext cx="5824032" cy="27255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9CC386A-BD8F-28D9-1515-8880C8C72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7B27AA3-8F8E-5204-A889-8754EE037E2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5894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F6738C-A831-0A74-2080-97F2A16E04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963" y="6079972"/>
            <a:ext cx="2239398" cy="44788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E59EA1E-E555-C8B3-2FD2-C31895C15A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8402" b="57049"/>
          <a:stretch/>
        </p:blipFill>
        <p:spPr>
          <a:xfrm flipV="1">
            <a:off x="7170184" y="4492486"/>
            <a:ext cx="5054648" cy="23655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38DEE74-B52B-28FA-1256-28314682810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44684" y="6060094"/>
            <a:ext cx="2438180" cy="48763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2374227-C889-0ACD-C646-A47161634AD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89702" y="6060216"/>
            <a:ext cx="2454984" cy="48763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5230500-6253-905F-EDD7-02BC3B0E4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268" y="553966"/>
            <a:ext cx="4111487" cy="623887"/>
          </a:xfrm>
          <a:prstGeom prst="rect">
            <a:avLst/>
          </a:prstGeom>
        </p:spPr>
        <p:txBody>
          <a:bodyPr/>
          <a:lstStyle>
            <a:lvl1pPr>
              <a:defRPr sz="3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0808DBC-E854-3A92-864F-3446E2FF8FD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00268" y="1530206"/>
            <a:ext cx="7272132" cy="450573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8756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B51A748-DBF3-593D-7478-DE6DE5C45F0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5951537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61B5A2E-467A-DE4A-CA73-D7C62CFF7C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190" y="1103243"/>
            <a:ext cx="3965713" cy="457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 typeface="System Font Regular"/>
              <a:buNone/>
              <a:defRPr sz="120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defRPr sz="1200" b="0" i="0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GB" noProof="0" dirty="0"/>
              <a:t>Insert body tex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D0FDF3-37C8-9E15-D2FF-704A1AB5C7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8402" b="57049"/>
          <a:stretch/>
        </p:blipFill>
        <p:spPr>
          <a:xfrm flipV="1">
            <a:off x="8706974" y="5211686"/>
            <a:ext cx="3517858" cy="164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9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140AE62-DC00-9B8B-2311-DFB376D49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71" y="0"/>
            <a:ext cx="6096000" cy="6858000"/>
          </a:xfrm>
          <a:prstGeom prst="rect">
            <a:avLst/>
          </a:prstGeom>
        </p:spPr>
      </p:pic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2863D97C-01F9-1EB9-BD77-B181C832D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77D224-543B-A5CC-2097-D416122DB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B8A79A2-5D4A-C4D3-FF9A-3DB2F274A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675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BCF4264-7FFB-594F-88DB-4C56E95069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5759" y="1365111"/>
            <a:ext cx="4299354" cy="4349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140AE62-DC00-9B8B-2311-DFB376D49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0669" y="0"/>
            <a:ext cx="6096000" cy="6858000"/>
          </a:xfrm>
          <a:prstGeom prst="rect">
            <a:avLst/>
          </a:prstGeom>
        </p:spPr>
      </p:pic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2863D97C-01F9-1EB9-BD77-B181C832D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4" y="2324690"/>
            <a:ext cx="4681060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title</a:t>
            </a:r>
            <a:endParaRPr lang="en-A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77D224-543B-A5CC-2097-D416122DB2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4005" y="3341890"/>
            <a:ext cx="4681060" cy="1708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Char char="-"/>
              <a:defRPr sz="2400" b="0" i="0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Line item one</a:t>
            </a:r>
          </a:p>
          <a:p>
            <a:pPr lvl="0"/>
            <a:r>
              <a:rPr lang="en-GB" dirty="0"/>
              <a:t>Line item two</a:t>
            </a:r>
          </a:p>
          <a:p>
            <a:pPr lvl="0"/>
            <a:r>
              <a:rPr lang="en-GB" dirty="0"/>
              <a:t>Line item three</a:t>
            </a:r>
          </a:p>
          <a:p>
            <a:pPr lvl="0"/>
            <a:r>
              <a:rPr lang="en-GB" dirty="0"/>
              <a:t>Line item four</a:t>
            </a:r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B8A79A2-5D4A-C4D3-FF9A-3DB2F274A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71163"/>
          <a:stretch/>
        </p:blipFill>
        <p:spPr>
          <a:xfrm rot="5400000" flipH="1">
            <a:off x="-2923453" y="2872783"/>
            <a:ext cx="6857998" cy="1112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0913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0E0D729-4981-C606-347E-5EEBE8F067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5167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51450D44-1A9B-15CD-C8F2-9E06F4E596E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1024980" y="96630"/>
            <a:ext cx="1033733" cy="179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426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6" r:id="rId2"/>
    <p:sldLayoutId id="2147483652" r:id="rId3"/>
    <p:sldLayoutId id="2147483661" r:id="rId4"/>
    <p:sldLayoutId id="2147483662" r:id="rId5"/>
    <p:sldLayoutId id="2147483665" r:id="rId6"/>
    <p:sldLayoutId id="2147483649" r:id="rId7"/>
    <p:sldLayoutId id="2147483658" r:id="rId8"/>
    <p:sldLayoutId id="2147483664" r:id="rId9"/>
    <p:sldLayoutId id="2147483663" r:id="rId10"/>
    <p:sldLayoutId id="2147483667" r:id="rId11"/>
    <p:sldLayoutId id="21474836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1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20.jpg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23.jpg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24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EB73C-E682-2CA6-2A53-103A04005281}"/>
              </a:ext>
            </a:extLst>
          </p:cNvPr>
          <p:cNvSpPr txBox="1">
            <a:spLocks/>
          </p:cNvSpPr>
          <p:nvPr/>
        </p:nvSpPr>
        <p:spPr>
          <a:xfrm>
            <a:off x="558678" y="282183"/>
            <a:ext cx="6070722" cy="17952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pt-BR" sz="3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sultados de Pesquisa de campo: Boro no algodão via aplicação no solo</a:t>
            </a:r>
            <a:endParaRPr lang="en-US" sz="32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4983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17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6E80467-A5F3-6CA0-11E3-D295EC59F8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6641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F510B4-2899-2D89-8468-FFEC9E9B4A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085" y="121128"/>
            <a:ext cx="4111487" cy="623887"/>
          </a:xfrm>
        </p:spPr>
        <p:txBody>
          <a:bodyPr vert="horz"/>
          <a:lstStyle/>
          <a:p>
            <a:r>
              <a:rPr lang="pt-BR" sz="20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Visão geral do experimento :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br>
              <a:rPr lang="en-US" sz="3600" b="1" u="sng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</a:b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sz="quarter" idx="10"/>
          </p:nvPr>
        </p:nvSpPr>
        <p:spPr>
          <a:xfrm>
            <a:off x="308113" y="615806"/>
            <a:ext cx="10764077" cy="5682252"/>
          </a:xfrm>
          <a:prstGeom prst="rect">
            <a:avLst/>
          </a:prstGeom>
        </p:spPr>
        <p:txBody>
          <a:bodyPr/>
          <a:lstStyle/>
          <a:p>
            <a:pPr lvl="1">
              <a:spcBef>
                <a:spcPts val="0"/>
              </a:spcBef>
              <a:spcAft>
                <a:spcPts val="200"/>
              </a:spcAft>
              <a:buFont typeface="Wingdings" panose="05000000000000000000" pitchFamily="2" charset="2"/>
              <a:buChar char="Ø"/>
            </a:pPr>
            <a:r>
              <a:rPr lang="pt-BR" sz="1600" b="1" dirty="0">
                <a:effectLst/>
                <a:latin typeface="+mn-lt"/>
                <a:ea typeface="Calibri" panose="020F0502020204030204" pitchFamily="34" charset="0"/>
              </a:rPr>
              <a:t>Instituição de pesquisa: </a:t>
            </a:r>
            <a:r>
              <a:rPr lang="pt-BR" sz="1600" dirty="0">
                <a:effectLst/>
                <a:latin typeface="+mn-lt"/>
                <a:ea typeface="Calibri" panose="020F0502020204030204" pitchFamily="34" charset="0"/>
              </a:rPr>
              <a:t>NEMABIO, Pesquisa agronômica (Dr. Claudinei Kappes)</a:t>
            </a:r>
            <a:endParaRPr lang="en-US" sz="1600" dirty="0">
              <a:effectLst/>
              <a:latin typeface="+mn-lt"/>
              <a:ea typeface="Calibri" panose="020F0502020204030204" pitchFamily="34" charset="0"/>
            </a:endParaRPr>
          </a:p>
          <a:p>
            <a:pPr lvl="1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Ø"/>
              <a:defRPr/>
            </a:pPr>
            <a:r>
              <a:rPr lang="pt-BR" sz="1600" b="1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ocalidade</a:t>
            </a:r>
            <a:r>
              <a:rPr lang="en-US" sz="1600" b="1" dirty="0">
                <a:latin typeface="+mn-lt"/>
              </a:rPr>
              <a:t>: </a:t>
            </a:r>
            <a:r>
              <a:rPr lang="en-US" sz="1600" baseline="0" dirty="0" err="1">
                <a:effectLst/>
                <a:latin typeface="+mn-lt"/>
                <a:ea typeface="+mn-ea"/>
                <a:cs typeface="+mn-cs"/>
              </a:rPr>
              <a:t>Sinop</a:t>
            </a:r>
            <a:r>
              <a:rPr lang="en-US" sz="1600" baseline="0" dirty="0">
                <a:effectLst/>
                <a:latin typeface="+mn-lt"/>
                <a:ea typeface="+mn-ea"/>
                <a:cs typeface="+mn-cs"/>
              </a:rPr>
              <a:t>, MT - Brazil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no da Pesquisa : 2023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Variedade da cultura</a:t>
            </a:r>
            <a:r>
              <a:rPr lang="en-US" sz="1600" dirty="0">
                <a:latin typeface="+mn-lt"/>
              </a:rPr>
              <a:t>: </a:t>
            </a:r>
            <a:r>
              <a:rPr lang="en-US" sz="1600" b="0" i="0" u="none" strike="noStrike" baseline="0" dirty="0">
                <a:latin typeface="+mn-lt"/>
              </a:rPr>
              <a:t>TMG 44 B2RF – 11 </a:t>
            </a:r>
            <a:r>
              <a:rPr lang="pt-BR" sz="16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ementes/metro </a:t>
            </a:r>
            <a:endParaRPr lang="en-US" sz="1600" b="0" i="0" u="none" strike="noStrike" baseline="0" dirty="0">
              <a:latin typeface="+mn-lt"/>
            </a:endParaRPr>
          </a:p>
          <a:p>
            <a:pPr marL="51435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rtilizante: </a:t>
            </a:r>
            <a:r>
              <a:rPr lang="pt-BR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anubor® e ulexita acidulada </a:t>
            </a:r>
          </a:p>
          <a:p>
            <a:pPr marL="457200" marR="0" lvl="1" indent="0">
              <a:spcBef>
                <a:spcPts val="0"/>
              </a:spcBef>
              <a:spcAft>
                <a:spcPts val="0"/>
              </a:spcAft>
              <a:buNone/>
            </a:pPr>
            <a:endParaRPr lang="pt-BR" sz="18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457200" marR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Finalidade: avaliar e desenvolver dados de rendimento, teor de boro nas folhas e teor de boro no solo em </a:t>
            </a:r>
            <a:r>
              <a:rPr lang="pt-BR" sz="1800" b="1" i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Granubor x ulexita acidulada</a:t>
            </a:r>
            <a:endParaRPr lang="en-US" sz="1800" b="1" u="sng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000000"/>
                </a:solidFill>
                <a:ea typeface="Calibri" panose="020F0502020204030204" pitchFamily="34" charset="0"/>
              </a:rPr>
              <a:t>        </a:t>
            </a:r>
            <a:r>
              <a:rPr lang="pt-BR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sign do teste: </a:t>
            </a:r>
            <a:r>
              <a:rPr lang="pt-BR" sz="16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Blocos casualizados  com quatro repetições </a:t>
            </a:r>
            <a:endParaRPr lang="en-US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rgbClr val="000000"/>
                </a:solidFill>
                <a:ea typeface="Calibri" panose="020F0502020204030204" pitchFamily="34" charset="0"/>
              </a:rPr>
              <a:t>        </a:t>
            </a:r>
            <a:r>
              <a:rPr lang="pt-BR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Métricas – Rendimento (kg/ha), teor de B nas folhas e no solo (após a colheita)</a:t>
            </a:r>
            <a:endParaRPr lang="en-US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rgbClr val="000000"/>
                </a:solidFill>
                <a:ea typeface="Calibri" panose="020F0502020204030204" pitchFamily="34" charset="0"/>
              </a:rPr>
              <a:t>        </a:t>
            </a:r>
            <a:r>
              <a:rPr lang="pt-BR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Métricas – Avaliação do estande de plantas – para garantir um estande consistente em cada replicação.</a:t>
            </a:r>
            <a:endParaRPr lang="en-US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      Análise – Análise estatística de métrica de rendimento para avaliar o desempenho do produto.</a:t>
            </a:r>
            <a:endParaRPr lang="en-US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16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endParaRPr>
          </a:p>
          <a:p>
            <a:pPr marL="457200" marR="0" lvl="1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ipo de solo e informações gerais sobre o solo</a:t>
            </a:r>
            <a:endParaRPr lang="en-US" sz="1800" u="sng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1600" dirty="0">
                <a:solidFill>
                  <a:srgbClr val="000000"/>
                </a:solidFill>
                <a:ea typeface="Calibri" panose="020F0502020204030204" pitchFamily="34" charset="0"/>
              </a:rPr>
              <a:t>        </a:t>
            </a:r>
            <a:r>
              <a:rPr lang="pt-BR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ipo de solo: Latossolo/ vermelho amarelo  distrófico. Argila: 49,8%; Areia: 32,5%; Silte: 17,7%.</a:t>
            </a:r>
            <a:endParaRPr lang="en-US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pt-BR" sz="1600" dirty="0"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ormações do solo: </a:t>
            </a:r>
            <a:r>
              <a:rPr lang="en-US" sz="1600" dirty="0">
                <a:solidFill>
                  <a:schemeClr val="dk1"/>
                </a:solidFill>
              </a:rPr>
              <a:t>pH: 5.7 (CaCl</a:t>
            </a:r>
            <a:r>
              <a:rPr lang="en-US" sz="1600" baseline="-25000" dirty="0">
                <a:solidFill>
                  <a:schemeClr val="dk1"/>
                </a:solidFill>
              </a:rPr>
              <a:t>2</a:t>
            </a:r>
            <a:r>
              <a:rPr lang="en-US" sz="1600" dirty="0">
                <a:solidFill>
                  <a:schemeClr val="dk1"/>
                </a:solidFill>
              </a:rPr>
              <a:t>)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O.M.: </a:t>
            </a:r>
            <a:r>
              <a:rPr lang="en-US" sz="1600" dirty="0">
                <a:solidFill>
                  <a:schemeClr val="dk1"/>
                </a:solidFill>
              </a:rPr>
              <a:t>24.3 g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P: 28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K: 91.6</a:t>
            </a:r>
            <a:r>
              <a:rPr lang="en-US" sz="1600" dirty="0"/>
              <a:t> 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dirty="0">
                <a:solidFill>
                  <a:schemeClr val="dk1"/>
                </a:solidFill>
              </a:rPr>
              <a:t>; 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dirty="0">
                <a:solidFill>
                  <a:schemeClr val="dk1"/>
                </a:solidFill>
              </a:rPr>
              <a:t>S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1600" dirty="0">
                <a:solidFill>
                  <a:schemeClr val="dk1"/>
                </a:solidFill>
              </a:rPr>
              <a:t>2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Ca: 4.1 cmol</a:t>
            </a:r>
            <a:r>
              <a:rPr lang="en-US" sz="1600" baseline="-250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</a:t>
            </a:r>
            <a:r>
              <a:rPr lang="en-US" sz="1600" dirty="0">
                <a:solidFill>
                  <a:schemeClr val="dk1"/>
                </a:solidFill>
              </a:rPr>
              <a:t>1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.6 cmol</a:t>
            </a:r>
            <a:r>
              <a:rPr lang="en-US" sz="1600" baseline="-250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c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B: 0.23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Cu: 0.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457200" lvl="1" indent="0" algn="just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Mn: </a:t>
            </a:r>
            <a:r>
              <a:rPr lang="en-US" sz="1600" dirty="0">
                <a:solidFill>
                  <a:schemeClr val="dk1"/>
                </a:solidFill>
              </a:rPr>
              <a:t>0.5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Zn: 3.4</a:t>
            </a:r>
            <a:r>
              <a:rPr lang="en-US" sz="1600" baseline="0" dirty="0"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600" dirty="0"/>
              <a:t>mg/</a:t>
            </a:r>
            <a:r>
              <a:rPr lang="en-US" sz="1600" dirty="0">
                <a:solidFill>
                  <a:schemeClr val="dk1"/>
                </a:solidFill>
              </a:rPr>
              <a:t>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 Fe: 60 </a:t>
            </a:r>
            <a:r>
              <a:rPr lang="en-US" sz="1600" dirty="0"/>
              <a:t>mg</a:t>
            </a:r>
            <a:r>
              <a:rPr lang="en-US" sz="1600" dirty="0">
                <a:solidFill>
                  <a:schemeClr val="dk1"/>
                </a:solidFill>
              </a:rPr>
              <a:t>/dm</a:t>
            </a:r>
            <a:r>
              <a:rPr lang="en-US" sz="1600" baseline="30000" dirty="0">
                <a:solidFill>
                  <a:schemeClr val="dk1"/>
                </a:solidFill>
              </a:rPr>
              <a:t>3</a:t>
            </a:r>
            <a:r>
              <a:rPr lang="en-US" sz="1600" baseline="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;</a:t>
            </a:r>
          </a:p>
          <a:p>
            <a:pPr marL="171450" indent="-171450"/>
            <a:endParaRPr lang="en-US" sz="1300" dirty="0"/>
          </a:p>
        </p:txBody>
      </p:sp>
      <p:pic>
        <p:nvPicPr>
          <p:cNvPr id="4106" name="Picture 10" descr="24.º Show Tecnológico de Verão da Fundação ABC é realizado de maneira  digital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7606" y="7144222"/>
            <a:ext cx="3664568" cy="206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46734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0E8529C-7A01-5D3E-62AE-8B9700D0C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2788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Content Placeholder 7">
            <a:extLst>
              <a:ext uri="{FF2B5EF4-FFF2-40B4-BE49-F238E27FC236}">
                <a16:creationId xmlns:a16="http://schemas.microsoft.com/office/drawing/2014/main" id="{EB25BBB1-0193-18AD-2BB3-977CE46D5B5A}"/>
              </a:ext>
            </a:extLst>
          </p:cNvPr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682741144"/>
              </p:ext>
            </p:extLst>
          </p:nvPr>
        </p:nvGraphicFramePr>
        <p:xfrm>
          <a:off x="8244762" y="1954191"/>
          <a:ext cx="3597275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08FE56B4-3EEB-7AF7-061B-B254300C5897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3356952656"/>
              </p:ext>
            </p:extLst>
          </p:nvPr>
        </p:nvGraphicFramePr>
        <p:xfrm>
          <a:off x="406400" y="1954191"/>
          <a:ext cx="3597275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F610C298-8264-EB90-FA1E-8F570F9C8D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1" y="466595"/>
            <a:ext cx="10109200" cy="1200329"/>
          </a:xfrm>
        </p:spPr>
        <p:txBody>
          <a:bodyPr vert="horz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pt-BR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sposta do algodoeiro à aplicação de B em solo argiloso (Latossolo amarelo-avermelhado distrófico) comparando a testemunha x </a:t>
            </a:r>
            <a:r>
              <a:rPr lang="pt-BR" sz="2000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Granubor x ulexita acidulada </a:t>
            </a:r>
            <a:r>
              <a:rPr lang="pt-BR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no estado de Mato Grosso, Brasil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pt-PT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lang="en-U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D37F6FCD-BBD1-AEF6-D50B-382C36D77F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172136"/>
              </p:ext>
            </p:extLst>
          </p:nvPr>
        </p:nvGraphicFramePr>
        <p:xfrm>
          <a:off x="4295774" y="1954191"/>
          <a:ext cx="3597275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CaixaDeTexto 31">
            <a:extLst>
              <a:ext uri="{FF2B5EF4-FFF2-40B4-BE49-F238E27FC236}">
                <a16:creationId xmlns:a16="http://schemas.microsoft.com/office/drawing/2014/main" id="{C635C49E-C8E8-5236-219C-7BB60FCDAD29}"/>
              </a:ext>
            </a:extLst>
          </p:cNvPr>
          <p:cNvSpPr txBox="1"/>
          <p:nvPr/>
        </p:nvSpPr>
        <p:spPr>
          <a:xfrm>
            <a:off x="9904833" y="6624203"/>
            <a:ext cx="2053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solidFill>
                  <a:schemeClr val="bg1"/>
                </a:solidFill>
                <a:effectLst>
                  <a:glow>
                    <a:schemeClr val="bg1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glow>
                    <a:schemeClr val="bg1"/>
                  </a:glo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. Kappes (2023).</a:t>
            </a:r>
          </a:p>
        </p:txBody>
      </p:sp>
    </p:spTree>
    <p:extLst>
      <p:ext uri="{BB962C8B-B14F-4D97-AF65-F5344CB8AC3E}">
        <p14:creationId xmlns:p14="http://schemas.microsoft.com/office/powerpoint/2010/main" val="43427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1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821987-A7EA-EEC8-4DB7-D153D20221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66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5B1E0C8-BED8-5846-345D-E2167A5EE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975" y="413062"/>
            <a:ext cx="9402571" cy="1231106"/>
          </a:xfrm>
          <a:prstGeom prst="rect">
            <a:avLst/>
          </a:prstGeom>
        </p:spPr>
        <p:txBody>
          <a:bodyPr vert="horz"/>
          <a:lstStyle/>
          <a:p>
            <a:r>
              <a:rPr lang="pt-BR" sz="20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Resposta do algodoeiro à aplicação de</a:t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pt-BR" sz="20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em solo argiloso (Latossolo amarelo-avermelhado distrófico)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br>
              <a:rPr lang="en-US" sz="2000" dirty="0">
                <a:solidFill>
                  <a:schemeClr val="accent1"/>
                </a:solidFill>
              </a:rPr>
            </a:b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Retângulo: Cantos Arredondados 3">
            <a:extLst>
              <a:ext uri="{FF2B5EF4-FFF2-40B4-BE49-F238E27FC236}">
                <a16:creationId xmlns:a16="http://schemas.microsoft.com/office/drawing/2014/main" id="{00CEC59C-653E-B258-D532-0FDED61D00B1}"/>
              </a:ext>
            </a:extLst>
          </p:cNvPr>
          <p:cNvSpPr/>
          <p:nvPr/>
        </p:nvSpPr>
        <p:spPr>
          <a:xfrm>
            <a:off x="405018" y="1969910"/>
            <a:ext cx="3788892" cy="43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Rendimento</a:t>
            </a:r>
            <a:r>
              <a: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 do </a:t>
            </a:r>
            <a:r>
              <a:rPr lang="en-US" sz="180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algodão</a:t>
            </a:r>
            <a:r>
              <a: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 (kg/ha)</a:t>
            </a:r>
          </a:p>
        </p:txBody>
      </p:sp>
      <p:sp>
        <p:nvSpPr>
          <p:cNvPr id="12" name="Retângulo: Cantos Arredondados 3">
            <a:extLst>
              <a:ext uri="{FF2B5EF4-FFF2-40B4-BE49-F238E27FC236}">
                <a16:creationId xmlns:a16="http://schemas.microsoft.com/office/drawing/2014/main" id="{4C4E2B3E-49C0-40BE-EF1B-DFCB7ED17B6B}"/>
              </a:ext>
            </a:extLst>
          </p:cNvPr>
          <p:cNvSpPr/>
          <p:nvPr/>
        </p:nvSpPr>
        <p:spPr>
          <a:xfrm>
            <a:off x="4902793" y="1969910"/>
            <a:ext cx="2880000" cy="43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B no solo (mg/dm³)</a:t>
            </a:r>
          </a:p>
        </p:txBody>
      </p:sp>
      <p:sp>
        <p:nvSpPr>
          <p:cNvPr id="13" name="Retângulo: Cantos Arredondados 2">
            <a:extLst>
              <a:ext uri="{FF2B5EF4-FFF2-40B4-BE49-F238E27FC236}">
                <a16:creationId xmlns:a16="http://schemas.microsoft.com/office/drawing/2014/main" id="{84C45EE6-ACF7-8BE8-6CF6-1FEAC7E82206}"/>
              </a:ext>
            </a:extLst>
          </p:cNvPr>
          <p:cNvSpPr/>
          <p:nvPr/>
        </p:nvSpPr>
        <p:spPr>
          <a:xfrm>
            <a:off x="8820194" y="1969910"/>
            <a:ext cx="2880000" cy="432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B in </a:t>
            </a:r>
            <a:r>
              <a:rPr lang="en-US" sz="1800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folha</a:t>
            </a:r>
            <a:r>
              <a: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 (mg/kg)</a:t>
            </a:r>
          </a:p>
        </p:txBody>
      </p:sp>
      <p:graphicFrame>
        <p:nvGraphicFramePr>
          <p:cNvPr id="14" name="Gráfico 1">
            <a:extLst>
              <a:ext uri="{FF2B5EF4-FFF2-40B4-BE49-F238E27FC236}">
                <a16:creationId xmlns:a16="http://schemas.microsoft.com/office/drawing/2014/main" id="{88A8590B-F1AD-0CF7-59BD-D7498FE8E5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4926314"/>
              </p:ext>
            </p:extLst>
          </p:nvPr>
        </p:nvGraphicFramePr>
        <p:xfrm>
          <a:off x="405018" y="2727652"/>
          <a:ext cx="3788892" cy="2830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Gráfico 1">
            <a:extLst>
              <a:ext uri="{FF2B5EF4-FFF2-40B4-BE49-F238E27FC236}">
                <a16:creationId xmlns:a16="http://schemas.microsoft.com/office/drawing/2014/main" id="{CD73B1C6-7C62-08C9-F9B7-4765F3A6CA57}"/>
              </a:ext>
            </a:extLst>
          </p:cNvPr>
          <p:cNvGraphicFramePr>
            <a:graphicFrameLocks/>
          </p:cNvGraphicFramePr>
          <p:nvPr/>
        </p:nvGraphicFramePr>
        <p:xfrm>
          <a:off x="8491677" y="2727652"/>
          <a:ext cx="3537035" cy="2802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Gráfico 1">
            <a:extLst>
              <a:ext uri="{FF2B5EF4-FFF2-40B4-BE49-F238E27FC236}">
                <a16:creationId xmlns:a16="http://schemas.microsoft.com/office/drawing/2014/main" id="{19C26AF2-4E55-C696-5465-443B5C5C87E8}"/>
              </a:ext>
            </a:extLst>
          </p:cNvPr>
          <p:cNvGraphicFramePr>
            <a:graphicFrameLocks/>
          </p:cNvGraphicFramePr>
          <p:nvPr/>
        </p:nvGraphicFramePr>
        <p:xfrm>
          <a:off x="4448348" y="2727652"/>
          <a:ext cx="3788891" cy="28022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0" name="CaixaDeTexto 31">
            <a:extLst>
              <a:ext uri="{FF2B5EF4-FFF2-40B4-BE49-F238E27FC236}">
                <a16:creationId xmlns:a16="http://schemas.microsoft.com/office/drawing/2014/main" id="{F9E72EEE-65F4-DC13-9BF8-78F0029A3051}"/>
              </a:ext>
            </a:extLst>
          </p:cNvPr>
          <p:cNvSpPr txBox="1"/>
          <p:nvPr/>
        </p:nvSpPr>
        <p:spPr>
          <a:xfrm>
            <a:off x="398975" y="5657755"/>
            <a:ext cx="171391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dirty="0">
                <a:effectLst>
                  <a:glow>
                    <a:schemeClr val="bg1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kumimoji="0" lang="pt-BR" sz="900" i="0" u="none" strike="noStrike" kern="1200" cap="none" spc="0" normalizeH="0" baseline="0" noProof="0" dirty="0">
                <a:ln>
                  <a:noFill/>
                </a:ln>
                <a:effectLst>
                  <a:glow>
                    <a:schemeClr val="bg1"/>
                  </a:glo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C. Kappes (2023).</a:t>
            </a:r>
          </a:p>
        </p:txBody>
      </p:sp>
      <p:pic>
        <p:nvPicPr>
          <p:cNvPr id="4" name="Picture 3" descr="A red text on a white background&#10;&#10;Description automatically generated">
            <a:extLst>
              <a:ext uri="{FF2B5EF4-FFF2-40B4-BE49-F238E27FC236}">
                <a16:creationId xmlns:a16="http://schemas.microsoft.com/office/drawing/2014/main" id="{FAC5AB0E-EC57-DAD6-5C19-7187C4DA9E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1690" y="420759"/>
            <a:ext cx="1555460" cy="311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0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971358F-708C-C0F4-7C47-58040DBC47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7632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B91966D7-3379-EA68-7090-A4026A86D4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530" y="291975"/>
            <a:ext cx="3815620" cy="623887"/>
          </a:xfrm>
        </p:spPr>
        <p:txBody>
          <a:bodyPr vert="horz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pt-BR" sz="4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sultados</a:t>
            </a:r>
            <a:endParaRPr lang="en-US" sz="4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13813AB-25B6-D6F8-6C0B-A53F0880A37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53464" y="2805451"/>
            <a:ext cx="7776361" cy="2071349"/>
          </a:xfrm>
          <a:solidFill>
            <a:schemeClr val="accent2">
              <a:lumMod val="20000"/>
              <a:lumOff val="80000"/>
            </a:schemeClr>
          </a:solidFill>
        </p:spPr>
        <p:txBody>
          <a:bodyPr/>
          <a:lstStyle/>
          <a:p>
            <a:pPr marL="114300" marR="0" indent="-342900">
              <a:spcBef>
                <a:spcPts val="0"/>
              </a:spcBef>
              <a:spcAft>
                <a:spcPts val="1095"/>
              </a:spcAft>
              <a:buFont typeface="+mj-lt"/>
              <a:buAutoNum type="arabicPeriod"/>
            </a:pPr>
            <a:r>
              <a:rPr lang="pt-BR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 aplicação a lanço de 3,0 kg/ha de boro no momento da semeadura em solo com baixa disponibilidade do elemento proporcionou maior rendimento de algodão em caroço, cujo aumento percentual foi de 5,28% em comparação ao tratamento de testemunha (aumento de 267,9 kg/ha);</a:t>
            </a:r>
            <a:endParaRPr lang="en-U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114300" marR="0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pt-BR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plicações de doses crescentes de boro aumentaram linearmente os teores do elemento na folha e no solo; os menores valores foram verificados na testemunha, que não recebeu aplicação de boro.</a:t>
            </a:r>
            <a:endParaRPr lang="en-U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61727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4</TotalTime>
  <Words>491</Words>
  <Application>Microsoft Office PowerPoint</Application>
  <PresentationFormat>Widescreen</PresentationFormat>
  <Paragraphs>36</Paragraphs>
  <Slides>5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1" baseType="lpstr">
      <vt:lpstr>Arial</vt:lpstr>
      <vt:lpstr>Calibri</vt:lpstr>
      <vt:lpstr>System Font Regular</vt:lpstr>
      <vt:lpstr>Wingdings</vt:lpstr>
      <vt:lpstr>Office Theme</vt:lpstr>
      <vt:lpstr>think-cell Slide</vt:lpstr>
      <vt:lpstr>Apresentação do PowerPoint</vt:lpstr>
      <vt:lpstr>Visão geral do experimento :  </vt:lpstr>
      <vt:lpstr>Resposta do algodoeiro à aplicação de B em solo argiloso (Latossolo amarelo-avermelhado distrófico) comparando a testemunha x Granubor x ulexita acidulada no estado de Mato Grosso, Brasil  </vt:lpstr>
      <vt:lpstr>Resposta do algodoeiro à aplicação de em solo argiloso (Latossolo amarelo-avermelhado distrófico)  </vt:lpstr>
      <vt:lpstr>Resultado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m Stone</dc:creator>
  <cp:lastModifiedBy>Saldanha, Eduardo  (RT Commercial)</cp:lastModifiedBy>
  <cp:revision>38</cp:revision>
  <dcterms:created xsi:type="dcterms:W3CDTF">2023-03-13T23:28:40Z</dcterms:created>
  <dcterms:modified xsi:type="dcterms:W3CDTF">2023-11-29T17:53:11Z</dcterms:modified>
</cp:coreProperties>
</file>